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7.xml" ContentType="application/vnd.openxmlformats-officedocument.presentationml.tags+xml"/>
  <Override PartName="/ppt/charts/chart8.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charts/chart11.xml" ContentType="application/vnd.openxmlformats-officedocument.drawingml.chart+xml"/>
  <Override PartName="/ppt/tags/tag41.xml" ContentType="application/vnd.openxmlformats-officedocument.presentationml.tags+xml"/>
  <Override PartName="/ppt/charts/chart12.xml" ContentType="application/vnd.openxmlformats-officedocument.drawingml.chart+xml"/>
  <Override PartName="/ppt/tags/tag42.xml" ContentType="application/vnd.openxmlformats-officedocument.presentationml.tags+xml"/>
  <Override PartName="/ppt/charts/chart13.xml" ContentType="application/vnd.openxmlformats-officedocument.drawingml.chart+xml"/>
  <Override PartName="/ppt/tags/tag43.xml" ContentType="application/vnd.openxmlformats-officedocument.presentationml.tags+xml"/>
  <Override PartName="/ppt/charts/chart14.xml" ContentType="application/vnd.openxmlformats-officedocument.drawingml.chart+xml"/>
  <Override PartName="/ppt/tags/tag44.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5.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6.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7.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3.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5.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6.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7.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5"/>
  </p:notesMasterIdLst>
  <p:sldIdLst>
    <p:sldId id="2147329454" r:id="rId5"/>
    <p:sldId id="2147475152" r:id="rId6"/>
    <p:sldId id="2147475178" r:id="rId7"/>
    <p:sldId id="2147473013" r:id="rId8"/>
    <p:sldId id="2147475151" r:id="rId9"/>
    <p:sldId id="2147473025" r:id="rId10"/>
    <p:sldId id="2147473029" r:id="rId11"/>
    <p:sldId id="2147473030" r:id="rId12"/>
    <p:sldId id="2147378510" r:id="rId13"/>
    <p:sldId id="2147378508" r:id="rId14"/>
    <p:sldId id="2147472930" r:id="rId15"/>
    <p:sldId id="2147475193" r:id="rId16"/>
    <p:sldId id="2147378386" r:id="rId17"/>
    <p:sldId id="2147471718" r:id="rId18"/>
    <p:sldId id="2147475156" r:id="rId19"/>
    <p:sldId id="2147378154" r:id="rId20"/>
    <p:sldId id="2147378155" r:id="rId21"/>
    <p:sldId id="2147378156" r:id="rId22"/>
    <p:sldId id="2147378157" r:id="rId23"/>
    <p:sldId id="2147473882" r:id="rId24"/>
    <p:sldId id="2147475174" r:id="rId25"/>
    <p:sldId id="2147475173" r:id="rId26"/>
    <p:sldId id="2147475171" r:id="rId27"/>
    <p:sldId id="2147475170" r:id="rId28"/>
    <p:sldId id="370" r:id="rId29"/>
    <p:sldId id="2147475172" r:id="rId30"/>
    <p:sldId id="2147475182" r:id="rId31"/>
    <p:sldId id="2147475181" r:id="rId32"/>
    <p:sldId id="2147475180" r:id="rId33"/>
    <p:sldId id="2147475179"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25" d="100"/>
          <a:sy n="125" d="100"/>
        </p:scale>
        <p:origin x="199" y="41"/>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B4BC0B9D-A611-4846-A1FB-23BAA4A16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352B6DD3-F5FF-4370-90FD-6ED39EBE1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B5F10EA4-AC18-457E-AFB3-CA400ADF6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6C7CCDFB-8002-4DB8-9578-9FFEDC652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7CBAD95A-7921-4042-9180-DDBC7CD1D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6BE10F3B-EF5B-40BB-B796-616E51432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AB361EF-1702-47F9-B4A7-E7E839048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C715D374-141F-4AF2-AAC7-DC621BFF7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135FD172-6ACD-4F47-9B9C-83AB60E30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454C690A-C78E-4465-86AA-FD7072224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9515737B-0D78-4A63-BEBE-60029756F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535CC032-4E8E-4E25-89AC-1B0962754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AE96B3CF-1A18-44AE-8F15-BA4742348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109253B3-BD09-4D34-ADA8-A2426D49B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D2D618BB-4D87-4964-A32E-B4911F1DD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026A5F42-0992-4883-AAFF-375791477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ADCCE907-EB94-4F99-8E4C-420CADAD8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A23FFB93-29DA-407F-A788-15A7422D0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13374A79-4B6E-464F-84FF-0E8723E28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49AD29EF-8B9A-4C53-B05A-2D6E04AB7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7635B45E-5172-4675-B621-FC763ED6A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C4CAF6A7-396B-46ED-BFDE-82C6172DF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4F215047-861B-48C9-A0E3-0DE384C76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29A6048D-1AAB-4F58-AE7F-995F7F1AB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116B2114-2CFB-496E-822A-C8F086A0D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0BE11C90-CC5C-442A-8084-1E1CDC530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81D2AB84-2E6C-4CC0-BFE4-31076DFB8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14F04D36-0C15-4B75-8F43-8B2BAB15E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C9D3112C-FADD-4C8D-8689-83C87C877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FF8CBD95-B1F9-48FB-890E-AC697D5A8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F423CD7C-4B12-47A1-B142-B28A101DC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785E50DD-A641-4057-A08D-0E0057CEA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4FC8DACB-D629-4FB9-BCFB-E4C7EDE8B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004FED18-178E-4F37-A812-3289F9DAD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74649E28-CDC1-4FFD-AF7D-8691C192A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96577258-6FC1-4E22-BD74-92956ACB1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90853950-9D80-4B46-AC76-B703DACE5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499367E8-5D4F-46B9-BE8A-881354526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A76872A8-C53F-44EF-A58D-37BE4CE89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B07EE2D8-D359-4B44-8512-B13184D36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DCB2885C-326A-424B-9B30-9ECB496DA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4E788271-F524-47AB-9644-AA1D19F58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2D96C394-AD21-4275-9C99-0B42AE162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6768251D-F579-45D7-A0F1-3171DBFA9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C9E380CA-EE94-4E3A-84D1-C4F1E90E1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C24094CE-2334-4BCF-A227-43839A3A3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834588CF-8B93-4021-A849-17621438D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A9B63D1E-5D80-425B-9DBF-73C76D386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3AB07A4E-0658-47E8-A956-C7B346CE5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92ABF6A7-09F4-4F4F-A0F3-DCC9C9DC5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3C65EA7D-EC87-4250-9ED6-3DA14A7A5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C6B1A42C-16CF-4424-A5F2-C784BAB36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8A98156D-D504-4DB8-87DA-FCE4DE3DB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C1A7CFFC-F374-44C8-BAC0-362B5BD0B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9756D232-A2E1-42EE-80D3-7CB2CBBA9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931F7BA2-DDE1-446B-B569-34F6A7D77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C33540AB-F7CC-4B0D-83B8-DE1AE5E3E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E49E04AC-AE70-476E-95F8-8EABBC392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8E0EFD1B-2565-4421-BEC5-15D4A3F05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C3931D7E-0978-4260-8C55-EDAD76C6E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B6C569B2-CE69-4D4B-8D8B-4BA5AE0A7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B687E9FB-AF34-4F65-8A42-08998F542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86CE81EE-22F2-4CA6-A9C1-5E42E58D5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30A85514-D7DA-4F3F-8E90-FB83B34DA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5D4F63B3-5A4A-42AE-93A0-A0BA2045E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CBF82E90-C496-45AC-BBE4-B84A5D5B4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DEA6BEF1-5FFE-4A1E-B5EC-D4530B3A1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AD588E07-A337-453C-AB6A-388A4FB78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FE82FAE3-05BE-4619-BCEF-2D8CF2A37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1E072FD0-02F9-46BC-BBE1-CF927CA18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7A163D04-08CB-46A0-AD4E-B9151AC07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3AAD1ED8-A890-4C40-8254-104012460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6FF7ACD9-0162-4571-8174-0629D2785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1AE00012-D178-415D-97C0-148237570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88471826-892A-4753-AB44-E24174294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55F7E160-8C31-4AE2-B358-FC7156239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CFA3E290-A462-44D6-BE7B-213E4078F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86DDFA67-BCEC-4050-8F45-DC0AC8AD7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49B9C9B1-1D94-4A33-A503-B60FBADBD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980E760E-4DA5-4DC5-9D94-E58195BAC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FDE9DCF3-5B95-4C9B-A668-D28FCBCAC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815EB56E-85BE-4D03-BFFA-A387D98F8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4C4A55DB-2078-4033-9385-58488B0B1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2C6F62F6-6AB3-41B9-8A33-2D53E99DC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A2D047DA-8DA4-4AF5-8DB3-2AF40ABC0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2EAE280C-6EB5-49A5-AE79-09FDBDF1A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DA57549B-CD64-41BF-B606-48083C994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F1A3DC96-C3CC-4363-8586-8D8E1F691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9A884C72-3CD8-446F-987F-BEBB053DD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2064D6D1-369C-435D-9BC6-1D55CA2F8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84040489-9507-4E0C-9D41-C675C6D83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287358B6-893F-4D2A-9258-28393F449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3D0D5103-FC0E-4821-B048-F1A72B430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0DCAD310-E08B-4D4C-ADA4-E4E83749C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835F0E5E-1599-4BCA-8EFA-D15A85308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4E7E8EBF-B0C6-48E2-9AB9-354D6EF75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F7EC86EA-F669-48DE-9845-E33EB7537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1F5ADF05-B5BC-4AAD-993C-2B4961B25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3D8A4056-1D7F-4056-AA81-BA0F22C4E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05DF2BAF-E5D8-47AF-AB30-B17F14D08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4D6806C4-D293-407F-B496-9B5CCA972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FF2E8E56-0086-43F9-A277-49BBE3614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C01F88C5-9D8A-47B7-B056-2F2BCC407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21B71D40-5132-4D7B-8BA1-45F913E1A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DA8F7113-55AF-424B-8F1E-1547B9A60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1DDD6BD9-BE70-4723-9E29-4A40D3315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372AC945-8752-49B7-9DC1-6A1D0984F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39681EC0-B681-4B70-9744-E5C87BDA0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7129B175-447E-453B-ABAF-9C4A7D7C5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1E387289-F42E-47FC-AFAA-1D376A21A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62CD2148-62A2-4A50-8C76-D39F02F36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824CFEB8-E246-4FD6-866E-4588EA6C3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C305DAD0-8BF7-4BC5-B1C4-2C00D03C0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E3A98B9D-193F-49DC-9A3E-4C2349BE9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AAD56634-D1A3-4757-9469-51CC980BC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CDCE0E41-3DC0-4632-B1A6-947C137CB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B36ABC3C-BD54-42E1-8099-5FA07E42B0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C9173D08-21C7-46D2-92C7-A3C84E6DAF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4B61C621-3963-426B-A72A-9A0F6CC327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6F500817-4308-4CF5-B196-BE2FFE4CE8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48B595D9-CEF1-4B55-B748-6C2D4D878D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29C60DC9-18BB-42B3-BEB3-D723AB2365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A805A88A-9B1B-42B1-A56B-97FBA6617E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9B692FB7-70B8-49B8-964F-DBAD536EDF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950AA3AC-C258-442D-A3F4-8438AFD20A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897910C2-B8A1-4237-A747-601942436C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B2B097C4-3933-4633-8F33-7B87689712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CA9FBBE1-B4D7-48CF-B680-B8DCD05427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E9F0FEE9-7C82-4806-A692-7F7D8606CC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88324E57-AF03-4DFE-B125-3A5ABF452A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74F27AC4-C2F9-4A5E-8BD5-F961421CBC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FCC15D05-CD84-486F-9241-2FDCC7A55D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7E0DC07A-8127-495A-8487-AE7C887BD7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EE748469-DB15-4938-9192-50F056B52F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20DA3F03-C4A8-4138-B71D-E14BBC123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6A10A7F9-A52B-4C0C-AF56-4E44E14816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266EA131-58A0-41E2-A5AF-A2E0648CB1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7DC861F4-1D09-44D4-9391-C0ED41FCB0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C4E048B8-10D8-47A1-ADC0-9A3A397E7E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96507A39-5680-4193-B541-2E47489988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3064099-4496-47D2-81B0-3B7BF9746C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4C3D65C7-FB54-4B42-BFA7-301D557A89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519E8813-09D6-481F-A035-EF13BD6F45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1D20BCEA-C815-458A-BC2D-EFBB81A029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EC539559-1F43-4A5F-B0BF-9EE603091BA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F64272DA-A744-4E37-8C19-1C4C88D9D4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6C6BC580-20B0-4686-8FF3-41141FA0BFE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DAB29AB9-F567-44B3-A162-CACA1C5B4E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546A1F32-DE68-4057-BA24-16CA85CE39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F367C267-A5E3-4B53-B657-1B1743A9BB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78F1C162-74BD-49DF-8383-19F604A259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D90A6DEB-7D6F-4030-A323-0755864864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DBCA73DC-F07A-4595-B4B7-1F0815C9E5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30E08B9C-8816-4790-96C2-D1FD123276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6E7114CA-E38C-42C2-88D6-BE5D655766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ABCB8A67-7E5C-4B3B-867B-FFB59E3704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8A8BE566-DDB1-42CB-8680-C2AB9F42FF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EEE0EB21-F96B-4936-873B-53E6574530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F5086A03-B74C-46CC-BABD-1C9FA8BED11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2647A008-9BA8-4579-A5BB-EB090F932A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4044505A-BE20-4E15-8A3E-46152249FD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B9A515F2-3C99-43A4-8F74-C13A7AB85F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5384DB06-FD1E-4D20-8896-73606B0DD1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A7575415-DBEB-4D2E-8A32-2FB9FB2F28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52009536-984A-43E0-934C-DF7468B8C56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558EDA56-472E-4774-AF24-3C256BE086B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738-4A3D-98BB-3D0CBF671497}"/>
                </c:ext>
              </c:extLst>
            </c:dLbl>
            <c:dLbl>
              <c:idx val="2"/>
              <c:tx>
                <c:rich>
                  <a:bodyPr/>
                  <a:lstStyle/>
                  <a:p>
                    <a:fld id="{501052A2-D274-444A-A668-0DF22013DA2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738-4A3D-98BB-3D0CBF671497}"/>
                </c:ext>
              </c:extLst>
            </c:dLbl>
            <c:dLbl>
              <c:idx val="3"/>
              <c:tx>
                <c:rich>
                  <a:bodyPr/>
                  <a:lstStyle/>
                  <a:p>
                    <a:fld id="{550A5DAF-6181-43B2-AACD-2015DBC812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738-4A3D-98BB-3D0CBF671497}"/>
                </c:ext>
              </c:extLst>
            </c:dLbl>
            <c:dLbl>
              <c:idx val="4"/>
              <c:tx>
                <c:rich>
                  <a:bodyPr/>
                  <a:lstStyle/>
                  <a:p>
                    <a:fld id="{2BC73A07-1398-46A4-8A74-A99EBC225E4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738-4A3D-98BB-3D0CBF671497}"/>
                </c:ext>
              </c:extLst>
            </c:dLbl>
            <c:dLbl>
              <c:idx val="5"/>
              <c:tx>
                <c:rich>
                  <a:bodyPr/>
                  <a:lstStyle/>
                  <a:p>
                    <a:fld id="{50F5892B-DCC4-4CF6-9AF6-8EC8E6D1D0E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738-4A3D-98BB-3D0CBF671497}"/>
                </c:ext>
              </c:extLst>
            </c:dLbl>
            <c:dLbl>
              <c:idx val="6"/>
              <c:tx>
                <c:rich>
                  <a:bodyPr/>
                  <a:lstStyle/>
                  <a:p>
                    <a:fld id="{3457309C-E10E-4A09-A0FE-53828CAC81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738-4A3D-98BB-3D0CBF671497}"/>
                </c:ext>
              </c:extLst>
            </c:dLbl>
            <c:dLbl>
              <c:idx val="7"/>
              <c:tx>
                <c:rich>
                  <a:bodyPr/>
                  <a:lstStyle/>
                  <a:p>
                    <a:fld id="{FE22770E-71BB-453A-A59E-8EA76FBB323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738-4A3D-98BB-3D0CBF671497}"/>
                </c:ext>
              </c:extLst>
            </c:dLbl>
            <c:dLbl>
              <c:idx val="8"/>
              <c:tx>
                <c:rich>
                  <a:bodyPr/>
                  <a:lstStyle/>
                  <a:p>
                    <a:fld id="{8EE83AE2-1C82-4DA2-A7D1-1BDE4337B6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738-4A3D-98BB-3D0CBF671497}"/>
                </c:ext>
              </c:extLst>
            </c:dLbl>
            <c:dLbl>
              <c:idx val="9"/>
              <c:tx>
                <c:rich>
                  <a:bodyPr/>
                  <a:lstStyle/>
                  <a:p>
                    <a:fld id="{F5474573-893D-41D2-95EF-FD13C09CB1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F106208E-EB26-4B6F-ACE0-36DD364B875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C738-4A3D-98BB-3D0CBF671497}"/>
                </c:ext>
              </c:extLst>
            </c:dLbl>
            <c:dLbl>
              <c:idx val="14"/>
              <c:tx>
                <c:rich>
                  <a:bodyPr/>
                  <a:lstStyle/>
                  <a:p>
                    <a:fld id="{58FB6A1A-6682-45F0-BE3A-B32CFD72FA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C738-4A3D-98BB-3D0CBF671497}"/>
                </c:ext>
              </c:extLst>
            </c:dLbl>
            <c:dLbl>
              <c:idx val="15"/>
              <c:tx>
                <c:rich>
                  <a:bodyPr/>
                  <a:lstStyle/>
                  <a:p>
                    <a:fld id="{906EFACE-9E6F-4B19-B2DB-99074932B39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2B3721E6-BE25-467E-8F9C-E06F4C01D7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C738-4A3D-98BB-3D0CBF671497}"/>
                </c:ext>
              </c:extLst>
            </c:dLbl>
            <c:dLbl>
              <c:idx val="20"/>
              <c:tx>
                <c:rich>
                  <a:bodyPr/>
                  <a:lstStyle/>
                  <a:p>
                    <a:fld id="{B6C6898F-8C75-421A-AFE3-94F913BB119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C738-4A3D-98BB-3D0CBF671497}"/>
                </c:ext>
              </c:extLst>
            </c:dLbl>
            <c:dLbl>
              <c:idx val="21"/>
              <c:tx>
                <c:rich>
                  <a:bodyPr/>
                  <a:lstStyle/>
                  <a:p>
                    <a:fld id="{49EFBA8A-0D9E-44BD-924F-5B956F423B6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EA35A4DB-F982-49F4-8250-5892F28294F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C738-4A3D-98BB-3D0CBF671497}"/>
                </c:ext>
              </c:extLst>
            </c:dLbl>
            <c:dLbl>
              <c:idx val="26"/>
              <c:tx>
                <c:rich>
                  <a:bodyPr/>
                  <a:lstStyle/>
                  <a:p>
                    <a:fld id="{3DD3FDD2-2770-491C-ABE7-B0A2C46D134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C738-4A3D-98BB-3D0CBF671497}"/>
                </c:ext>
              </c:extLst>
            </c:dLbl>
            <c:dLbl>
              <c:idx val="27"/>
              <c:tx>
                <c:rich>
                  <a:bodyPr/>
                  <a:lstStyle/>
                  <a:p>
                    <a:fld id="{68C54531-45AF-470B-ABCB-FB9A89EF31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C738-4A3D-98BB-3D0CBF671497}"/>
                </c:ext>
              </c:extLst>
            </c:dLbl>
            <c:dLbl>
              <c:idx val="28"/>
              <c:tx>
                <c:rich>
                  <a:bodyPr/>
                  <a:lstStyle/>
                  <a:p>
                    <a:fld id="{7CF91342-F027-4322-854D-5EDF0E5013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224F5FF9-D054-411C-8C20-B5432FC8F5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C738-4A3D-98BB-3D0CBF671497}"/>
                </c:ext>
              </c:extLst>
            </c:dLbl>
            <c:dLbl>
              <c:idx val="32"/>
              <c:tx>
                <c:rich>
                  <a:bodyPr/>
                  <a:lstStyle/>
                  <a:p>
                    <a:fld id="{11CCB74C-3601-4FDD-80B1-D8A62358F2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C738-4A3D-98BB-3D0CBF671497}"/>
                </c:ext>
              </c:extLst>
            </c:dLbl>
            <c:dLbl>
              <c:idx val="33"/>
              <c:tx>
                <c:rich>
                  <a:bodyPr/>
                  <a:lstStyle/>
                  <a:p>
                    <a:fld id="{835BFDD5-21D0-489A-86C9-3097CB6051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C738-4A3D-98BB-3D0CBF671497}"/>
                </c:ext>
              </c:extLst>
            </c:dLbl>
            <c:dLbl>
              <c:idx val="37"/>
              <c:tx>
                <c:rich>
                  <a:bodyPr/>
                  <a:lstStyle/>
                  <a:p>
                    <a:fld id="{2BD00E90-CD7F-4FCD-A644-F93904AC7B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C738-4A3D-98BB-3D0CBF671497}"/>
                </c:ext>
              </c:extLst>
            </c:dLbl>
            <c:dLbl>
              <c:idx val="38"/>
              <c:tx>
                <c:rich>
                  <a:bodyPr/>
                  <a:lstStyle/>
                  <a:p>
                    <a:fld id="{92977FE7-6FF6-4BFE-A23B-EA0E8D1C80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419B15C2-BBDC-4F12-B4D1-DB42FE99E36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46A0BED8-C74E-4924-8E1D-15752CB3EBF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C738-4A3D-98BB-3D0CBF671497}"/>
                </c:ext>
              </c:extLst>
            </c:dLbl>
            <c:dLbl>
              <c:idx val="44"/>
              <c:tx>
                <c:rich>
                  <a:bodyPr/>
                  <a:lstStyle/>
                  <a:p>
                    <a:fld id="{8C652005-6DE1-4B2A-A0AD-E430D20124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C738-4A3D-98BB-3D0CBF671497}"/>
                </c:ext>
              </c:extLst>
            </c:dLbl>
            <c:dLbl>
              <c:idx val="45"/>
              <c:tx>
                <c:rich>
                  <a:bodyPr/>
                  <a:lstStyle/>
                  <a:p>
                    <a:fld id="{4AA28761-633D-488F-ACC0-0F7AF390950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2CE1F7D7-54D7-4C37-A44E-D2D9A0E7DEF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C738-4A3D-98BB-3D0CBF671497}"/>
                </c:ext>
              </c:extLst>
            </c:dLbl>
            <c:dLbl>
              <c:idx val="50"/>
              <c:tx>
                <c:rich>
                  <a:bodyPr/>
                  <a:lstStyle/>
                  <a:p>
                    <a:fld id="{93254D6C-B674-4C45-A61D-A58500287EB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C738-4A3D-98BB-3D0CBF671497}"/>
                </c:ext>
              </c:extLst>
            </c:dLbl>
            <c:dLbl>
              <c:idx val="51"/>
              <c:tx>
                <c:rich>
                  <a:bodyPr/>
                  <a:lstStyle/>
                  <a:p>
                    <a:fld id="{0EB9ECBA-2E4F-47F3-8D27-3D220C13F4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50EFB35A-24EB-455C-93F2-5D80E3DD0C6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CD79E070-8F33-49C0-BAD8-7817B406A39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77E-4F29-87DF-0FE64D0B037A}"/>
                </c:ext>
              </c:extLst>
            </c:dLbl>
            <c:dLbl>
              <c:idx val="2"/>
              <c:tx>
                <c:rich>
                  <a:bodyPr/>
                  <a:lstStyle/>
                  <a:p>
                    <a:fld id="{82068BB5-119D-46D3-B76F-A2CC985A002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7E-4F29-87DF-0FE64D0B037A}"/>
                </c:ext>
              </c:extLst>
            </c:dLbl>
            <c:dLbl>
              <c:idx val="3"/>
              <c:tx>
                <c:rich>
                  <a:bodyPr/>
                  <a:lstStyle/>
                  <a:p>
                    <a:fld id="{4108FC77-CC4D-4AE4-A2AC-1511165B83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7E-4F29-87DF-0FE64D0B037A}"/>
                </c:ext>
              </c:extLst>
            </c:dLbl>
            <c:dLbl>
              <c:idx val="4"/>
              <c:tx>
                <c:rich>
                  <a:bodyPr/>
                  <a:lstStyle/>
                  <a:p>
                    <a:fld id="{D6A9FE7A-EA4F-46F0-BA4A-4AF0119481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7E-4F29-87DF-0FE64D0B037A}"/>
                </c:ext>
              </c:extLst>
            </c:dLbl>
            <c:dLbl>
              <c:idx val="5"/>
              <c:tx>
                <c:rich>
                  <a:bodyPr/>
                  <a:lstStyle/>
                  <a:p>
                    <a:fld id="{6F21A679-DD63-4084-BC96-44FC8FA49E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7E-4F29-87DF-0FE64D0B037A}"/>
                </c:ext>
              </c:extLst>
            </c:dLbl>
            <c:dLbl>
              <c:idx val="6"/>
              <c:tx>
                <c:rich>
                  <a:bodyPr/>
                  <a:lstStyle/>
                  <a:p>
                    <a:fld id="{03DC3668-E039-4754-A6CE-995D3A990A8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77E-4F29-87DF-0FE64D0B037A}"/>
                </c:ext>
              </c:extLst>
            </c:dLbl>
            <c:dLbl>
              <c:idx val="7"/>
              <c:tx>
                <c:rich>
                  <a:bodyPr/>
                  <a:lstStyle/>
                  <a:p>
                    <a:fld id="{4FB10E6A-71F8-4BAF-A5F3-824E287F2C1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77E-4F29-87DF-0FE64D0B037A}"/>
                </c:ext>
              </c:extLst>
            </c:dLbl>
            <c:dLbl>
              <c:idx val="8"/>
              <c:tx>
                <c:rich>
                  <a:bodyPr/>
                  <a:lstStyle/>
                  <a:p>
                    <a:fld id="{49B10219-7499-41AE-97F3-3BC9254183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B77E-4F29-87DF-0FE64D0B037A}"/>
                </c:ext>
              </c:extLst>
            </c:dLbl>
            <c:dLbl>
              <c:idx val="9"/>
              <c:tx>
                <c:rich>
                  <a:bodyPr/>
                  <a:lstStyle/>
                  <a:p>
                    <a:fld id="{DA93CB13-41A8-43BD-8DDA-147BEC1A12E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D648C62F-11B2-49A9-A332-C793757CE8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77E-4F29-87DF-0FE64D0B037A}"/>
                </c:ext>
              </c:extLst>
            </c:dLbl>
            <c:dLbl>
              <c:idx val="14"/>
              <c:tx>
                <c:rich>
                  <a:bodyPr/>
                  <a:lstStyle/>
                  <a:p>
                    <a:fld id="{0EC1526C-DBB4-403A-9ACC-5EF429125E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B77E-4F29-87DF-0FE64D0B037A}"/>
                </c:ext>
              </c:extLst>
            </c:dLbl>
            <c:dLbl>
              <c:idx val="15"/>
              <c:tx>
                <c:rich>
                  <a:bodyPr/>
                  <a:lstStyle/>
                  <a:p>
                    <a:fld id="{B2B98A24-5AD5-4C59-85C1-AE8931BB53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342CC63F-C40A-45A0-B557-48D7F00C02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77E-4F29-87DF-0FE64D0B037A}"/>
                </c:ext>
              </c:extLst>
            </c:dLbl>
            <c:dLbl>
              <c:idx val="20"/>
              <c:tx>
                <c:rich>
                  <a:bodyPr/>
                  <a:lstStyle/>
                  <a:p>
                    <a:fld id="{894DB02A-C51A-4A84-95CA-C6B66F85B6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77E-4F29-87DF-0FE64D0B037A}"/>
                </c:ext>
              </c:extLst>
            </c:dLbl>
            <c:dLbl>
              <c:idx val="21"/>
              <c:tx>
                <c:rich>
                  <a:bodyPr/>
                  <a:lstStyle/>
                  <a:p>
                    <a:fld id="{01180E18-82A5-41DF-940E-5FD0310010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0C6EA9AD-9D85-4C34-BE9F-CFEFEA2420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77E-4F29-87DF-0FE64D0B037A}"/>
                </c:ext>
              </c:extLst>
            </c:dLbl>
            <c:dLbl>
              <c:idx val="26"/>
              <c:tx>
                <c:rich>
                  <a:bodyPr/>
                  <a:lstStyle/>
                  <a:p>
                    <a:fld id="{4AB75744-8640-41F7-ADA5-C1A2DB753D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77E-4F29-87DF-0FE64D0B037A}"/>
                </c:ext>
              </c:extLst>
            </c:dLbl>
            <c:dLbl>
              <c:idx val="27"/>
              <c:tx>
                <c:rich>
                  <a:bodyPr/>
                  <a:lstStyle/>
                  <a:p>
                    <a:fld id="{2F82ACDE-D250-464C-82C5-2D1BAD3ACD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77E-4F29-87DF-0FE64D0B037A}"/>
                </c:ext>
              </c:extLst>
            </c:dLbl>
            <c:dLbl>
              <c:idx val="28"/>
              <c:tx>
                <c:rich>
                  <a:bodyPr/>
                  <a:lstStyle/>
                  <a:p>
                    <a:fld id="{F1498E92-473B-4C18-8655-4169E8EC01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4DD049E0-04E0-4990-B83F-9A3B84A55D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77E-4F29-87DF-0FE64D0B037A}"/>
                </c:ext>
              </c:extLst>
            </c:dLbl>
            <c:dLbl>
              <c:idx val="32"/>
              <c:tx>
                <c:rich>
                  <a:bodyPr/>
                  <a:lstStyle/>
                  <a:p>
                    <a:fld id="{70DEEF13-2F54-46B5-AABF-D65ABA647F1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77E-4F29-87DF-0FE64D0B037A}"/>
                </c:ext>
              </c:extLst>
            </c:dLbl>
            <c:dLbl>
              <c:idx val="33"/>
              <c:tx>
                <c:rich>
                  <a:bodyPr/>
                  <a:lstStyle/>
                  <a:p>
                    <a:fld id="{97875E62-2572-40D7-8519-BE2C900E53E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14DBB64F-0EE9-4589-80EC-3DB8D2402D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77E-4F29-87DF-0FE64D0B037A}"/>
                </c:ext>
              </c:extLst>
            </c:dLbl>
            <c:dLbl>
              <c:idx val="38"/>
              <c:tx>
                <c:rich>
                  <a:bodyPr/>
                  <a:lstStyle/>
                  <a:p>
                    <a:fld id="{32F71245-5396-481E-9D2B-00B800F51CF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42D5CDF-8903-4D60-AD06-7D5AE394E7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7092BF4D-A2E0-4FCF-A04E-D7D34E2A60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77E-4F29-87DF-0FE64D0B037A}"/>
                </c:ext>
              </c:extLst>
            </c:dLbl>
            <c:dLbl>
              <c:idx val="44"/>
              <c:tx>
                <c:rich>
                  <a:bodyPr/>
                  <a:lstStyle/>
                  <a:p>
                    <a:fld id="{C9FD121A-BB63-4D69-83CA-1781A05A3B6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77E-4F29-87DF-0FE64D0B037A}"/>
                </c:ext>
              </c:extLst>
            </c:dLbl>
            <c:dLbl>
              <c:idx val="45"/>
              <c:tx>
                <c:rich>
                  <a:bodyPr/>
                  <a:lstStyle/>
                  <a:p>
                    <a:fld id="{BCC65A36-5AB8-429B-A270-D858B06B2B6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31E55B73-9616-4C04-8711-67DE7F430C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77E-4F29-87DF-0FE64D0B037A}"/>
                </c:ext>
              </c:extLst>
            </c:dLbl>
            <c:dLbl>
              <c:idx val="50"/>
              <c:tx>
                <c:rich>
                  <a:bodyPr/>
                  <a:lstStyle/>
                  <a:p>
                    <a:fld id="{42265768-8208-4DD1-9D4B-0526DBE1C9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77E-4F29-87DF-0FE64D0B037A}"/>
                </c:ext>
              </c:extLst>
            </c:dLbl>
            <c:dLbl>
              <c:idx val="51"/>
              <c:tx>
                <c:rich>
                  <a:bodyPr/>
                  <a:lstStyle/>
                  <a:p>
                    <a:fld id="{3EF443A9-F89C-4AAD-BAF7-E3F253AE1F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7DA2B4A-7B40-4325-BAB1-791C43AA2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83D87D9-B138-4AD4-B205-AB02C639D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35FD6F9B-9F40-4D32-8209-C846D343C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11DEB480-8A5C-4CC1-95D8-09E5B6FB2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C420CA34-AEE8-43A3-B671-A4B6B2D19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7588A13-3E29-482D-88E6-3EE123F00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8A10AC01-49C9-4DA2-9704-221E8877C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CAA4C04A-82F8-4B3F-B828-BCAC3609B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BE069BCD-D16E-4E20-94A1-CB4F29063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F543362B-FBA7-488F-929E-1D8055F3B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628A8C41-531D-4594-8F25-734295CC8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4499DB5-1AFE-4395-B2F2-DCD3CFC18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7F487488-BF23-4C3C-B5E8-B06AD2CEE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61C3E786-58FB-4DF8-B4F7-B256D4C63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06410C87-C603-4629-AD46-1456A4D9D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6755F5A-258E-41DF-9F91-5BBCEDE7B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CCACFE40-FECA-413C-853E-779C5B918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A0E7DDDE-3C7C-476E-90E6-85F9FDAA9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20899B94-ACC5-4372-AAB6-54962C75E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82E1C10F-43FB-4080-93AF-BF7A115FD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52F70301-F28A-446E-843D-D6A8647B9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3B6168BC-1177-40C0-8FA2-C206C4457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4E2ECA7C-C989-449B-B91C-360052BC1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5F7DF04F-C66C-4F30-BA01-91A51BFEB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AE4ED4D7-3DFF-423D-A4FE-865D3A926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EDB987E3-8EDB-4F6D-B8E3-DAA9ECE27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B47B3294-0E3A-4925-AC08-54BEEFC11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AFE96CA5-3F8E-4CA8-97D4-D01733E3A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66F839DF-A6A1-45E7-B6FE-FCCEA8F04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8670BA9C-C95E-4FA7-96CB-5DBB9C26D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EAA2E9B5-8415-40BD-AB3D-E5042F4E0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9C2C96BF-423C-4913-8DCA-A9C560BFE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B9933802-151A-4778-85E7-C0626949A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8D7036EE-E866-4D9C-99F4-ED2777D76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52D22FBB-7349-4015-B7E6-7AE7B4890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6F8D7BB7-B3A7-424A-977A-26D7BF7B1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B1150DEE-C1B5-4244-84AD-89C9363AE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7B7A901D-BCA8-44B8-B133-5242D18CC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DEF61A4C-05D3-47EE-A2E7-35AF909C3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F3BF151B-7F23-4DB0-898F-0DB4329FC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AF134D2F-F7C8-4C9B-ADDF-573D742A7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370BA79E-30E2-4EAC-82F9-AD6527985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4237FF3B-B467-44A5-B507-6D85E9A0C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4A691AE4-25A5-4D47-8BE9-17B89B6EC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72DE700F-9F96-4012-82DB-DDEC8D477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2E2D7D94-BDB3-4716-85E5-ED404840E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2C52FE3E-7925-4811-AB76-8598413F5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AD00BAF6-688D-4C7B-91F6-23984443474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CCFA0EE0-EC5E-4783-8DF6-8E89CD0A25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2352D361-2EC0-452B-9B7F-AC637C01F78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F3F-4891-A588-66FCA4279EF0}"/>
                </c:ext>
              </c:extLst>
            </c:dLbl>
            <c:dLbl>
              <c:idx val="4"/>
              <c:tx>
                <c:rich>
                  <a:bodyPr/>
                  <a:lstStyle/>
                  <a:p>
                    <a:fld id="{1091F06D-79FF-4CC5-97F4-8CB3E88910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F3F-4891-A588-66FCA4279EF0}"/>
                </c:ext>
              </c:extLst>
            </c:dLbl>
            <c:dLbl>
              <c:idx val="5"/>
              <c:tx>
                <c:rich>
                  <a:bodyPr/>
                  <a:lstStyle/>
                  <a:p>
                    <a:fld id="{28F2D03A-73AD-407C-8061-BA6B498C9CC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F3F-4891-A588-66FCA4279EF0}"/>
                </c:ext>
              </c:extLst>
            </c:dLbl>
            <c:dLbl>
              <c:idx val="6"/>
              <c:tx>
                <c:rich>
                  <a:bodyPr/>
                  <a:lstStyle/>
                  <a:p>
                    <a:fld id="{67A66CF1-F0CC-4841-9B5E-41B5998426D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6F3F-4891-A588-66FCA4279EF0}"/>
                </c:ext>
              </c:extLst>
            </c:dLbl>
            <c:dLbl>
              <c:idx val="7"/>
              <c:tx>
                <c:rich>
                  <a:bodyPr/>
                  <a:lstStyle/>
                  <a:p>
                    <a:fld id="{C481E5C1-82D7-4CDF-BB43-FD59F2B990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6F3F-4891-A588-66FCA4279EF0}"/>
                </c:ext>
              </c:extLst>
            </c:dLbl>
            <c:dLbl>
              <c:idx val="9"/>
              <c:tx>
                <c:rich>
                  <a:bodyPr/>
                  <a:lstStyle/>
                  <a:p>
                    <a:fld id="{2727D7CD-C681-4226-A601-FC6950EF8F0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6F3F-4891-A588-66FCA4279EF0}"/>
                </c:ext>
              </c:extLst>
            </c:dLbl>
            <c:dLbl>
              <c:idx val="12"/>
              <c:tx>
                <c:rich>
                  <a:bodyPr/>
                  <a:lstStyle/>
                  <a:p>
                    <a:fld id="{6814F98B-2504-42B8-9EBB-EBDC2F8ADE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6F3F-4891-A588-66FCA4279EF0}"/>
                </c:ext>
              </c:extLst>
            </c:dLbl>
            <c:dLbl>
              <c:idx val="13"/>
              <c:tx>
                <c:rich>
                  <a:bodyPr/>
                  <a:lstStyle/>
                  <a:p>
                    <a:fld id="{3C3D6B5D-6788-4B24-9B21-DC33900E2C5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F3F-4891-A588-66FCA4279EF0}"/>
                </c:ext>
              </c:extLst>
            </c:dLbl>
            <c:dLbl>
              <c:idx val="15"/>
              <c:tx>
                <c:rich>
                  <a:bodyPr/>
                  <a:lstStyle/>
                  <a:p>
                    <a:fld id="{C6507887-DBD6-42C1-8EEB-797637E5E49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6F3F-4891-A588-66FCA4279EF0}"/>
                </c:ext>
              </c:extLst>
            </c:dLbl>
            <c:dLbl>
              <c:idx val="16"/>
              <c:tx>
                <c:rich>
                  <a:bodyPr/>
                  <a:lstStyle/>
                  <a:p>
                    <a:fld id="{B386318C-76B3-4B04-A71F-9055C3E2B4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F3F-4891-A588-66FCA4279EF0}"/>
                </c:ext>
              </c:extLst>
            </c:dLbl>
            <c:dLbl>
              <c:idx val="18"/>
              <c:tx>
                <c:rich>
                  <a:bodyPr/>
                  <a:lstStyle/>
                  <a:p>
                    <a:fld id="{6117A7B2-949F-47B5-8F3E-CA568050FD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6F3F-4891-A588-66FCA4279EF0}"/>
                </c:ext>
              </c:extLst>
            </c:dLbl>
            <c:dLbl>
              <c:idx val="19"/>
              <c:tx>
                <c:rich>
                  <a:bodyPr/>
                  <a:lstStyle/>
                  <a:p>
                    <a:fld id="{BB9CC043-354A-44E0-85CA-26A68FD401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6F3F-4891-A588-66FCA4279EF0}"/>
                </c:ext>
              </c:extLst>
            </c:dLbl>
            <c:dLbl>
              <c:idx val="20"/>
              <c:tx>
                <c:rich>
                  <a:bodyPr/>
                  <a:lstStyle/>
                  <a:p>
                    <a:fld id="{D733F521-F55D-4CF0-875F-2C30CC870CF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6F3F-4891-A588-66FCA4279EF0}"/>
                </c:ext>
              </c:extLst>
            </c:dLbl>
            <c:dLbl>
              <c:idx val="21"/>
              <c:tx>
                <c:rich>
                  <a:bodyPr/>
                  <a:lstStyle/>
                  <a:p>
                    <a:fld id="{7716D45F-CE8F-4EE9-A825-A58AF030A7F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6F3F-4891-A588-66FCA4279EF0}"/>
                </c:ext>
              </c:extLst>
            </c:dLbl>
            <c:dLbl>
              <c:idx val="22"/>
              <c:tx>
                <c:rich>
                  <a:bodyPr/>
                  <a:lstStyle/>
                  <a:p>
                    <a:fld id="{4B828EB1-0ED6-485C-8C8A-BD8873A5C85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6F3F-4891-A588-66FCA4279EF0}"/>
                </c:ext>
              </c:extLst>
            </c:dLbl>
            <c:dLbl>
              <c:idx val="23"/>
              <c:tx>
                <c:rich>
                  <a:bodyPr/>
                  <a:lstStyle/>
                  <a:p>
                    <a:fld id="{4CD8DC2F-5C09-440C-8C22-E100072C74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F3F-4891-A588-66FCA4279EF0}"/>
                </c:ext>
              </c:extLst>
            </c:dLbl>
            <c:dLbl>
              <c:idx val="26"/>
              <c:tx>
                <c:rich>
                  <a:bodyPr/>
                  <a:lstStyle/>
                  <a:p>
                    <a:fld id="{835C0A08-30C9-4482-B5DC-8BB2A28308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F3F-4891-A588-66FCA4279EF0}"/>
                </c:ext>
              </c:extLst>
            </c:dLbl>
            <c:dLbl>
              <c:idx val="29"/>
              <c:tx>
                <c:rich>
                  <a:bodyPr/>
                  <a:lstStyle/>
                  <a:p>
                    <a:fld id="{7F3E857E-F9A4-4196-82A5-2CD93952D7B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6F3F-4891-A588-66FCA4279EF0}"/>
                </c:ext>
              </c:extLst>
            </c:dLbl>
            <c:dLbl>
              <c:idx val="30"/>
              <c:tx>
                <c:rich>
                  <a:bodyPr/>
                  <a:lstStyle/>
                  <a:p>
                    <a:fld id="{2BFFD502-ABD8-4367-9546-EA27838297C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F3F-4891-A588-66FCA4279EF0}"/>
                </c:ext>
              </c:extLst>
            </c:dLbl>
            <c:dLbl>
              <c:idx val="33"/>
              <c:tx>
                <c:rich>
                  <a:bodyPr/>
                  <a:lstStyle/>
                  <a:p>
                    <a:fld id="{2D5D314F-BE20-4B94-A9BF-24713C005CB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6F3F-4891-A588-66FCA4279EF0}"/>
                </c:ext>
              </c:extLst>
            </c:dLbl>
            <c:dLbl>
              <c:idx val="34"/>
              <c:tx>
                <c:rich>
                  <a:bodyPr/>
                  <a:lstStyle/>
                  <a:p>
                    <a:fld id="{B004E89C-DE7B-466D-AAC9-BBA56898ACB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6F3F-4891-A588-66FCA4279EF0}"/>
                </c:ext>
              </c:extLst>
            </c:dLbl>
            <c:dLbl>
              <c:idx val="35"/>
              <c:tx>
                <c:rich>
                  <a:bodyPr/>
                  <a:lstStyle/>
                  <a:p>
                    <a:fld id="{EF2D4A82-C18C-44FE-9FB2-7FC2A249E94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6F3F-4891-A588-66FCA4279EF0}"/>
                </c:ext>
              </c:extLst>
            </c:dLbl>
            <c:dLbl>
              <c:idx val="36"/>
              <c:tx>
                <c:rich>
                  <a:bodyPr/>
                  <a:lstStyle/>
                  <a:p>
                    <a:fld id="{160A0034-81BF-4DC2-A79A-E3059F4BA47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F3F-4891-A588-66FCA4279EF0}"/>
                </c:ext>
              </c:extLst>
            </c:dLbl>
            <c:dLbl>
              <c:idx val="38"/>
              <c:tx>
                <c:rich>
                  <a:bodyPr/>
                  <a:lstStyle/>
                  <a:p>
                    <a:fld id="{D3BCEBFA-9C90-4571-87E3-FD929429789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F3F-4891-A588-66FCA4279EF0}"/>
                </c:ext>
              </c:extLst>
            </c:dLbl>
            <c:dLbl>
              <c:idx val="40"/>
              <c:tx>
                <c:rich>
                  <a:bodyPr/>
                  <a:lstStyle/>
                  <a:p>
                    <a:fld id="{B686ADC3-6E20-42A1-99AF-C139F643079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6F3F-4891-A588-66FCA4279EF0}"/>
                </c:ext>
              </c:extLst>
            </c:dLbl>
            <c:dLbl>
              <c:idx val="41"/>
              <c:tx>
                <c:rich>
                  <a:bodyPr/>
                  <a:lstStyle/>
                  <a:p>
                    <a:fld id="{2183244D-5B1E-4267-910F-68BE288C25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6F3F-4891-A588-66FCA4279EF0}"/>
                </c:ext>
              </c:extLst>
            </c:dLbl>
            <c:dLbl>
              <c:idx val="44"/>
              <c:tx>
                <c:rich>
                  <a:bodyPr/>
                  <a:lstStyle/>
                  <a:p>
                    <a:fld id="{B496AB25-D1CA-417B-8C24-3762578A87C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6F3F-4891-A588-66FCA4279EF0}"/>
                </c:ext>
              </c:extLst>
            </c:dLbl>
            <c:dLbl>
              <c:idx val="45"/>
              <c:tx>
                <c:rich>
                  <a:bodyPr/>
                  <a:lstStyle/>
                  <a:p>
                    <a:fld id="{0650B887-B115-4A5A-BB5A-F8CDD9E34F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7A338E2E-729B-42AB-B247-D985CDE5AC8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6F3F-4891-A588-66FCA4279EF0}"/>
                </c:ext>
              </c:extLst>
            </c:dLbl>
            <c:dLbl>
              <c:idx val="47"/>
              <c:tx>
                <c:rich>
                  <a:bodyPr/>
                  <a:lstStyle/>
                  <a:p>
                    <a:fld id="{9C32D860-355E-402F-BC97-B30319AEA6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6F3F-4891-A588-66FCA4279EF0}"/>
                </c:ext>
              </c:extLst>
            </c:dLbl>
            <c:dLbl>
              <c:idx val="48"/>
              <c:tx>
                <c:rich>
                  <a:bodyPr/>
                  <a:lstStyle/>
                  <a:p>
                    <a:fld id="{9B86DC5C-A66F-4192-A7ED-028BA6E1DF4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6F3F-4891-A588-66FCA4279EF0}"/>
                </c:ext>
              </c:extLst>
            </c:dLbl>
            <c:dLbl>
              <c:idx val="51"/>
              <c:tx>
                <c:rich>
                  <a:bodyPr/>
                  <a:lstStyle/>
                  <a:p>
                    <a:fld id="{0D13F16E-0883-46B1-B003-F34F602DDE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2B7BF06A-3109-4493-A745-D233AEE5681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EA460703-B1B4-49CD-AB7E-565EFDB254F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FCA-4943-AA4B-9818CF1C0054}"/>
                </c:ext>
              </c:extLst>
            </c:dLbl>
            <c:dLbl>
              <c:idx val="2"/>
              <c:tx>
                <c:rich>
                  <a:bodyPr/>
                  <a:lstStyle/>
                  <a:p>
                    <a:fld id="{C2F7A0A5-5F0E-480A-A758-33FF75B1E1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FCA-4943-AA4B-9818CF1C0054}"/>
                </c:ext>
              </c:extLst>
            </c:dLbl>
            <c:dLbl>
              <c:idx val="3"/>
              <c:tx>
                <c:rich>
                  <a:bodyPr/>
                  <a:lstStyle/>
                  <a:p>
                    <a:fld id="{080BBA25-2B8F-40EB-A9D4-C6B8F229F4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FCA-4943-AA4B-9818CF1C0054}"/>
                </c:ext>
              </c:extLst>
            </c:dLbl>
            <c:dLbl>
              <c:idx val="4"/>
              <c:tx>
                <c:rich>
                  <a:bodyPr/>
                  <a:lstStyle/>
                  <a:p>
                    <a:fld id="{D3E9A4D5-5FFE-463F-AC9B-03E99BF07DF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AFCA-4943-AA4B-9818CF1C0054}"/>
                </c:ext>
              </c:extLst>
            </c:dLbl>
            <c:dLbl>
              <c:idx val="5"/>
              <c:tx>
                <c:rich>
                  <a:bodyPr/>
                  <a:lstStyle/>
                  <a:p>
                    <a:fld id="{E2501D62-E6CE-4FFB-90E5-1A6938E91F8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FCA-4943-AA4B-9818CF1C0054}"/>
                </c:ext>
              </c:extLst>
            </c:dLbl>
            <c:dLbl>
              <c:idx val="6"/>
              <c:tx>
                <c:rich>
                  <a:bodyPr/>
                  <a:lstStyle/>
                  <a:p>
                    <a:fld id="{EFB01187-1002-4AE2-AD81-354C126CD1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FCA-4943-AA4B-9818CF1C0054}"/>
                </c:ext>
              </c:extLst>
            </c:dLbl>
            <c:dLbl>
              <c:idx val="7"/>
              <c:tx>
                <c:rich>
                  <a:bodyPr/>
                  <a:lstStyle/>
                  <a:p>
                    <a:fld id="{993CCE11-7F76-47C7-AA4B-60E669F8A4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FCA-4943-AA4B-9818CF1C0054}"/>
                </c:ext>
              </c:extLst>
            </c:dLbl>
            <c:dLbl>
              <c:idx val="8"/>
              <c:tx>
                <c:rich>
                  <a:bodyPr/>
                  <a:lstStyle/>
                  <a:p>
                    <a:fld id="{017DD735-A46D-4D4E-A10A-132E2C1FF5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AFCA-4943-AA4B-9818CF1C0054}"/>
                </c:ext>
              </c:extLst>
            </c:dLbl>
            <c:dLbl>
              <c:idx val="9"/>
              <c:tx>
                <c:rich>
                  <a:bodyPr/>
                  <a:lstStyle/>
                  <a:p>
                    <a:fld id="{2AC6679E-35B4-4CB2-A0E9-A78D8E4C81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AFCA-4943-AA4B-9818CF1C0054}"/>
                </c:ext>
              </c:extLst>
            </c:dLbl>
            <c:dLbl>
              <c:idx val="13"/>
              <c:tx>
                <c:rich>
                  <a:bodyPr/>
                  <a:lstStyle/>
                  <a:p>
                    <a:fld id="{B5E9235A-31F0-4ECF-BC69-75478FD1BF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AFCA-4943-AA4B-9818CF1C0054}"/>
                </c:ext>
              </c:extLst>
            </c:dLbl>
            <c:dLbl>
              <c:idx val="14"/>
              <c:tx>
                <c:rich>
                  <a:bodyPr/>
                  <a:lstStyle/>
                  <a:p>
                    <a:fld id="{38558168-CBD6-4AF1-9448-7E7F3BF759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AFCA-4943-AA4B-9818CF1C0054}"/>
                </c:ext>
              </c:extLst>
            </c:dLbl>
            <c:dLbl>
              <c:idx val="15"/>
              <c:tx>
                <c:rich>
                  <a:bodyPr/>
                  <a:lstStyle/>
                  <a:p>
                    <a:fld id="{D4A4FD81-40F8-4E71-A630-4CF539F2F6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AFCA-4943-AA4B-9818CF1C0054}"/>
                </c:ext>
              </c:extLst>
            </c:dLbl>
            <c:dLbl>
              <c:idx val="19"/>
              <c:tx>
                <c:rich>
                  <a:bodyPr/>
                  <a:lstStyle/>
                  <a:p>
                    <a:fld id="{D567696A-E57E-40D9-B52F-DE7D704DB0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AFCA-4943-AA4B-9818CF1C0054}"/>
                </c:ext>
              </c:extLst>
            </c:dLbl>
            <c:dLbl>
              <c:idx val="20"/>
              <c:tx>
                <c:rich>
                  <a:bodyPr/>
                  <a:lstStyle/>
                  <a:p>
                    <a:fld id="{A335C533-4099-4F3D-82E8-F1DB9478B1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AFCA-4943-AA4B-9818CF1C0054}"/>
                </c:ext>
              </c:extLst>
            </c:dLbl>
            <c:dLbl>
              <c:idx val="21"/>
              <c:tx>
                <c:rich>
                  <a:bodyPr/>
                  <a:lstStyle/>
                  <a:p>
                    <a:fld id="{A3661596-69FA-4D46-8481-E51184DFF37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AFCA-4943-AA4B-9818CF1C0054}"/>
                </c:ext>
              </c:extLst>
            </c:dLbl>
            <c:dLbl>
              <c:idx val="25"/>
              <c:tx>
                <c:rich>
                  <a:bodyPr/>
                  <a:lstStyle/>
                  <a:p>
                    <a:fld id="{F1E1A399-C0F3-400C-AD99-24FB82E28D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AFCA-4943-AA4B-9818CF1C0054}"/>
                </c:ext>
              </c:extLst>
            </c:dLbl>
            <c:dLbl>
              <c:idx val="26"/>
              <c:tx>
                <c:rich>
                  <a:bodyPr/>
                  <a:lstStyle/>
                  <a:p>
                    <a:fld id="{4E2CA056-3895-40B4-9811-CDA98A4073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AFCA-4943-AA4B-9818CF1C0054}"/>
                </c:ext>
              </c:extLst>
            </c:dLbl>
            <c:dLbl>
              <c:idx val="27"/>
              <c:tx>
                <c:rich>
                  <a:bodyPr/>
                  <a:lstStyle/>
                  <a:p>
                    <a:fld id="{4624A2A8-2B8D-42C7-A9ED-59351AB72E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AFCA-4943-AA4B-9818CF1C0054}"/>
                </c:ext>
              </c:extLst>
            </c:dLbl>
            <c:dLbl>
              <c:idx val="28"/>
              <c:tx>
                <c:rich>
                  <a:bodyPr/>
                  <a:lstStyle/>
                  <a:p>
                    <a:fld id="{3B3F6848-2B30-40DE-BB18-C1EE6CE33C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AFCA-4943-AA4B-9818CF1C0054}"/>
                </c:ext>
              </c:extLst>
            </c:dLbl>
            <c:dLbl>
              <c:idx val="31"/>
              <c:tx>
                <c:rich>
                  <a:bodyPr/>
                  <a:lstStyle/>
                  <a:p>
                    <a:fld id="{E96ADEA1-2E5F-4391-9F8D-0DE1416746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AFCA-4943-AA4B-9818CF1C0054}"/>
                </c:ext>
              </c:extLst>
            </c:dLbl>
            <c:dLbl>
              <c:idx val="32"/>
              <c:tx>
                <c:rich>
                  <a:bodyPr/>
                  <a:lstStyle/>
                  <a:p>
                    <a:fld id="{F1675694-C3A2-46F6-9673-45582AF07A6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AFCA-4943-AA4B-9818CF1C0054}"/>
                </c:ext>
              </c:extLst>
            </c:dLbl>
            <c:dLbl>
              <c:idx val="33"/>
              <c:tx>
                <c:rich>
                  <a:bodyPr/>
                  <a:lstStyle/>
                  <a:p>
                    <a:fld id="{E2AD08E8-CC00-4431-AE36-FA61C6C2F9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AFCA-4943-AA4B-9818CF1C0054}"/>
                </c:ext>
              </c:extLst>
            </c:dLbl>
            <c:dLbl>
              <c:idx val="37"/>
              <c:tx>
                <c:rich>
                  <a:bodyPr/>
                  <a:lstStyle/>
                  <a:p>
                    <a:fld id="{7E16F55D-D83B-4A62-AD27-5F281E4DD5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AFCA-4943-AA4B-9818CF1C0054}"/>
                </c:ext>
              </c:extLst>
            </c:dLbl>
            <c:dLbl>
              <c:idx val="38"/>
              <c:tx>
                <c:rich>
                  <a:bodyPr/>
                  <a:lstStyle/>
                  <a:p>
                    <a:fld id="{B8D00505-1C4C-498A-95EB-48F5887AFD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5F59C464-1E1F-487C-8C30-DA80496599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AFCA-4943-AA4B-9818CF1C0054}"/>
                </c:ext>
              </c:extLst>
            </c:dLbl>
            <c:dLbl>
              <c:idx val="43"/>
              <c:tx>
                <c:rich>
                  <a:bodyPr/>
                  <a:lstStyle/>
                  <a:p>
                    <a:fld id="{B31EAEFB-1065-4FDD-BC0F-DCE056F5F3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AFCA-4943-AA4B-9818CF1C0054}"/>
                </c:ext>
              </c:extLst>
            </c:dLbl>
            <c:dLbl>
              <c:idx val="44"/>
              <c:tx>
                <c:rich>
                  <a:bodyPr/>
                  <a:lstStyle/>
                  <a:p>
                    <a:fld id="{6963C9B3-2A71-4783-8BF2-07779FF349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AFCA-4943-AA4B-9818CF1C0054}"/>
                </c:ext>
              </c:extLst>
            </c:dLbl>
            <c:dLbl>
              <c:idx val="45"/>
              <c:tx>
                <c:rich>
                  <a:bodyPr/>
                  <a:lstStyle/>
                  <a:p>
                    <a:fld id="{B30A0E21-3B68-4DC7-ACE5-0064ACB3D8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AFCA-4943-AA4B-9818CF1C0054}"/>
                </c:ext>
              </c:extLst>
            </c:dLbl>
            <c:dLbl>
              <c:idx val="49"/>
              <c:tx>
                <c:rich>
                  <a:bodyPr/>
                  <a:lstStyle/>
                  <a:p>
                    <a:fld id="{08E171BC-ACE9-4C4E-B585-EF5029C027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AFCA-4943-AA4B-9818CF1C0054}"/>
                </c:ext>
              </c:extLst>
            </c:dLbl>
            <c:dLbl>
              <c:idx val="50"/>
              <c:tx>
                <c:rich>
                  <a:bodyPr/>
                  <a:lstStyle/>
                  <a:p>
                    <a:fld id="{63BBB040-D37F-42BE-91C9-D0EF016A4D8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AFCA-4943-AA4B-9818CF1C0054}"/>
                </c:ext>
              </c:extLst>
            </c:dLbl>
            <c:dLbl>
              <c:idx val="51"/>
              <c:tx>
                <c:rich>
                  <a:bodyPr/>
                  <a:lstStyle/>
                  <a:p>
                    <a:fld id="{8133132F-C1ED-47C8-B969-00AE805914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DF12F6C9-3898-4903-9124-D0746FA37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21CD6E04-DBDB-4BF8-9564-36CA97C78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EBBFD21B-0864-449F-A9D7-D6FF9C526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B2C-A45E-07CB64A14B3B}"/>
                </c:ext>
              </c:extLst>
            </c:dLbl>
            <c:dLbl>
              <c:idx val="4"/>
              <c:tx>
                <c:rich>
                  <a:bodyPr/>
                  <a:lstStyle/>
                  <a:p>
                    <a:fld id="{2B13F73E-8384-4CB1-8409-F7121B37B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B2C-A45E-07CB64A14B3B}"/>
                </c:ext>
              </c:extLst>
            </c:dLbl>
            <c:dLbl>
              <c:idx val="5"/>
              <c:tx>
                <c:rich>
                  <a:bodyPr/>
                  <a:lstStyle/>
                  <a:p>
                    <a:fld id="{CB438CEC-EA1F-4F2E-84D3-2AE7980A3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B2C-A45E-07CB64A14B3B}"/>
                </c:ext>
              </c:extLst>
            </c:dLbl>
            <c:dLbl>
              <c:idx val="6"/>
              <c:tx>
                <c:rich>
                  <a:bodyPr/>
                  <a:lstStyle/>
                  <a:p>
                    <a:fld id="{2CFFB330-2F78-4728-9D68-2A5B5844C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B2C-A45E-07CB64A14B3B}"/>
                </c:ext>
              </c:extLst>
            </c:dLbl>
            <c:dLbl>
              <c:idx val="7"/>
              <c:tx>
                <c:rich>
                  <a:bodyPr/>
                  <a:lstStyle/>
                  <a:p>
                    <a:fld id="{2E177123-86E7-40D2-B83A-437B3D3AA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48EF-4B2C-A45E-07CB64A14B3B}"/>
                </c:ext>
              </c:extLst>
            </c:dLbl>
            <c:dLbl>
              <c:idx val="9"/>
              <c:tx>
                <c:rich>
                  <a:bodyPr/>
                  <a:lstStyle/>
                  <a:p>
                    <a:fld id="{9C848779-07E4-4F81-AECB-723097396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48EF-4B2C-A45E-07CB64A14B3B}"/>
                </c:ext>
              </c:extLst>
            </c:dLbl>
            <c:dLbl>
              <c:idx val="12"/>
              <c:tx>
                <c:rich>
                  <a:bodyPr/>
                  <a:lstStyle/>
                  <a:p>
                    <a:fld id="{0462173E-E272-494B-9768-497C2DE85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8EF-4B2C-A45E-07CB64A14B3B}"/>
                </c:ext>
              </c:extLst>
            </c:dLbl>
            <c:dLbl>
              <c:idx val="13"/>
              <c:tx>
                <c:rich>
                  <a:bodyPr/>
                  <a:lstStyle/>
                  <a:p>
                    <a:fld id="{63FE300C-BDBB-4450-A9A4-78403AE1A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48EF-4B2C-A45E-07CB64A14B3B}"/>
                </c:ext>
              </c:extLst>
            </c:dLbl>
            <c:dLbl>
              <c:idx val="15"/>
              <c:tx>
                <c:rich>
                  <a:bodyPr/>
                  <a:lstStyle/>
                  <a:p>
                    <a:fld id="{C04F5BFC-421C-4838-A223-00D14A61D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8EF-4B2C-A45E-07CB64A14B3B}"/>
                </c:ext>
              </c:extLst>
            </c:dLbl>
            <c:dLbl>
              <c:idx val="16"/>
              <c:tx>
                <c:rich>
                  <a:bodyPr/>
                  <a:lstStyle/>
                  <a:p>
                    <a:fld id="{19A1C000-1188-45B4-BB5E-D5DC1CCB4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48EF-4B2C-A45E-07CB64A14B3B}"/>
                </c:ext>
              </c:extLst>
            </c:dLbl>
            <c:dLbl>
              <c:idx val="18"/>
              <c:tx>
                <c:rich>
                  <a:bodyPr/>
                  <a:lstStyle/>
                  <a:p>
                    <a:fld id="{F3AE3913-4F4A-4AA2-A8B8-CC811061C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8EF-4B2C-A45E-07CB64A14B3B}"/>
                </c:ext>
              </c:extLst>
            </c:dLbl>
            <c:dLbl>
              <c:idx val="19"/>
              <c:tx>
                <c:rich>
                  <a:bodyPr/>
                  <a:lstStyle/>
                  <a:p>
                    <a:fld id="{D06F4B0A-5B2D-4A17-91D9-99AF0D8C2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8EF-4B2C-A45E-07CB64A14B3B}"/>
                </c:ext>
              </c:extLst>
            </c:dLbl>
            <c:dLbl>
              <c:idx val="20"/>
              <c:tx>
                <c:rich>
                  <a:bodyPr/>
                  <a:lstStyle/>
                  <a:p>
                    <a:fld id="{96FE44DD-0E9E-45BD-A3AA-D79140E9C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8EF-4B2C-A45E-07CB64A14B3B}"/>
                </c:ext>
              </c:extLst>
            </c:dLbl>
            <c:dLbl>
              <c:idx val="21"/>
              <c:tx>
                <c:rich>
                  <a:bodyPr/>
                  <a:lstStyle/>
                  <a:p>
                    <a:fld id="{7B6BF7EB-BAB9-41DC-A1C0-8726A9B18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8EF-4B2C-A45E-07CB64A14B3B}"/>
                </c:ext>
              </c:extLst>
            </c:dLbl>
            <c:dLbl>
              <c:idx val="22"/>
              <c:tx>
                <c:rich>
                  <a:bodyPr/>
                  <a:lstStyle/>
                  <a:p>
                    <a:fld id="{807C9078-0D5A-4699-BFCF-0D97C39ED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8EF-4B2C-A45E-07CB64A14B3B}"/>
                </c:ext>
              </c:extLst>
            </c:dLbl>
            <c:dLbl>
              <c:idx val="23"/>
              <c:tx>
                <c:rich>
                  <a:bodyPr/>
                  <a:lstStyle/>
                  <a:p>
                    <a:fld id="{3616D234-311E-4AC0-AD0B-8F1AB960D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48EF-4B2C-A45E-07CB64A14B3B}"/>
                </c:ext>
              </c:extLst>
            </c:dLbl>
            <c:dLbl>
              <c:idx val="26"/>
              <c:tx>
                <c:rich>
                  <a:bodyPr/>
                  <a:lstStyle/>
                  <a:p>
                    <a:fld id="{8929DD6B-AE02-4C23-ADB2-7721A41BA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48EF-4B2C-A45E-07CB64A14B3B}"/>
                </c:ext>
              </c:extLst>
            </c:dLbl>
            <c:dLbl>
              <c:idx val="29"/>
              <c:tx>
                <c:rich>
                  <a:bodyPr/>
                  <a:lstStyle/>
                  <a:p>
                    <a:fld id="{02E8F650-C8AB-4330-85C2-54E17F850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8EF-4B2C-A45E-07CB64A14B3B}"/>
                </c:ext>
              </c:extLst>
            </c:dLbl>
            <c:dLbl>
              <c:idx val="30"/>
              <c:tx>
                <c:rich>
                  <a:bodyPr/>
                  <a:lstStyle/>
                  <a:p>
                    <a:fld id="{74124BF7-1736-4C1F-85DD-D4BC0CDD4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48EF-4B2C-A45E-07CB64A14B3B}"/>
                </c:ext>
              </c:extLst>
            </c:dLbl>
            <c:dLbl>
              <c:idx val="33"/>
              <c:tx>
                <c:rich>
                  <a:bodyPr/>
                  <a:lstStyle/>
                  <a:p>
                    <a:fld id="{7C5CA085-F9F1-48C3-8B8B-42E31C729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8EF-4B2C-A45E-07CB64A14B3B}"/>
                </c:ext>
              </c:extLst>
            </c:dLbl>
            <c:dLbl>
              <c:idx val="34"/>
              <c:tx>
                <c:rich>
                  <a:bodyPr/>
                  <a:lstStyle/>
                  <a:p>
                    <a:fld id="{5794D444-E1C5-426A-990A-3D7E71328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8EF-4B2C-A45E-07CB64A14B3B}"/>
                </c:ext>
              </c:extLst>
            </c:dLbl>
            <c:dLbl>
              <c:idx val="35"/>
              <c:tx>
                <c:rich>
                  <a:bodyPr/>
                  <a:lstStyle/>
                  <a:p>
                    <a:fld id="{E3A898F0-665A-4498-8894-55DC4659A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8EF-4B2C-A45E-07CB64A14B3B}"/>
                </c:ext>
              </c:extLst>
            </c:dLbl>
            <c:dLbl>
              <c:idx val="36"/>
              <c:tx>
                <c:rich>
                  <a:bodyPr/>
                  <a:lstStyle/>
                  <a:p>
                    <a:fld id="{62D3835B-C487-4898-98FE-AE2B13396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48EF-4B2C-A45E-07CB64A14B3B}"/>
                </c:ext>
              </c:extLst>
            </c:dLbl>
            <c:dLbl>
              <c:idx val="38"/>
              <c:tx>
                <c:rich>
                  <a:bodyPr/>
                  <a:lstStyle/>
                  <a:p>
                    <a:fld id="{305DB5CF-FA87-4966-AD03-49C384175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48EF-4B2C-A45E-07CB64A14B3B}"/>
                </c:ext>
              </c:extLst>
            </c:dLbl>
            <c:dLbl>
              <c:idx val="40"/>
              <c:tx>
                <c:rich>
                  <a:bodyPr/>
                  <a:lstStyle/>
                  <a:p>
                    <a:fld id="{F9480167-9510-4DE6-A0C8-FD7AA980C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8EF-4B2C-A45E-07CB64A14B3B}"/>
                </c:ext>
              </c:extLst>
            </c:dLbl>
            <c:dLbl>
              <c:idx val="41"/>
              <c:tx>
                <c:rich>
                  <a:bodyPr/>
                  <a:lstStyle/>
                  <a:p>
                    <a:fld id="{AE10967E-3177-49C6-9FFE-C1C106BC8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48EF-4B2C-A45E-07CB64A14B3B}"/>
                </c:ext>
              </c:extLst>
            </c:dLbl>
            <c:dLbl>
              <c:idx val="44"/>
              <c:tx>
                <c:rich>
                  <a:bodyPr/>
                  <a:lstStyle/>
                  <a:p>
                    <a:fld id="{6907F353-460E-41A8-BBC5-3FBC00C99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8EF-4B2C-A45E-07CB64A14B3B}"/>
                </c:ext>
              </c:extLst>
            </c:dLbl>
            <c:dLbl>
              <c:idx val="45"/>
              <c:tx>
                <c:rich>
                  <a:bodyPr/>
                  <a:lstStyle/>
                  <a:p>
                    <a:fld id="{4AFAAD08-C12A-4290-A1D3-4FCD43F64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9C167F0E-E21E-4158-92C7-F8BEBA072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48EF-4B2C-A45E-07CB64A14B3B}"/>
                </c:ext>
              </c:extLst>
            </c:dLbl>
            <c:dLbl>
              <c:idx val="47"/>
              <c:tx>
                <c:rich>
                  <a:bodyPr/>
                  <a:lstStyle/>
                  <a:p>
                    <a:fld id="{775E3CAA-65F1-4802-9CFD-3EF958B87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48EF-4B2C-A45E-07CB64A14B3B}"/>
                </c:ext>
              </c:extLst>
            </c:dLbl>
            <c:dLbl>
              <c:idx val="48"/>
              <c:tx>
                <c:rich>
                  <a:bodyPr/>
                  <a:lstStyle/>
                  <a:p>
                    <a:fld id="{9468B606-3335-4CBF-A194-BFDA73729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48EF-4B2C-A45E-07CB64A14B3B}"/>
                </c:ext>
              </c:extLst>
            </c:dLbl>
            <c:dLbl>
              <c:idx val="51"/>
              <c:tx>
                <c:rich>
                  <a:bodyPr/>
                  <a:lstStyle/>
                  <a:p>
                    <a:fld id="{B10977FF-7D57-4043-AE8E-0DFC5CF64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33F55E31-D14C-462D-85B5-02B2EBFE53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F540E8D8-DF51-4380-B282-77281270A1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522-4FFF-9E56-9731F6C7602B}"/>
                </c:ext>
              </c:extLst>
            </c:dLbl>
            <c:dLbl>
              <c:idx val="2"/>
              <c:tx>
                <c:rich>
                  <a:bodyPr/>
                  <a:lstStyle/>
                  <a:p>
                    <a:fld id="{2ADEF48B-5E82-4374-B33C-D93582D9389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522-4FFF-9E56-9731F6C7602B}"/>
                </c:ext>
              </c:extLst>
            </c:dLbl>
            <c:dLbl>
              <c:idx val="3"/>
              <c:tx>
                <c:rich>
                  <a:bodyPr/>
                  <a:lstStyle/>
                  <a:p>
                    <a:fld id="{ABA2B2DE-A39E-494B-91B5-5D5DEE505D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522-4FFF-9E56-9731F6C7602B}"/>
                </c:ext>
              </c:extLst>
            </c:dLbl>
            <c:dLbl>
              <c:idx val="4"/>
              <c:tx>
                <c:rich>
                  <a:bodyPr/>
                  <a:lstStyle/>
                  <a:p>
                    <a:fld id="{4022B923-9485-4A7E-95CB-DE9A22A5EAC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522-4FFF-9E56-9731F6C7602B}"/>
                </c:ext>
              </c:extLst>
            </c:dLbl>
            <c:dLbl>
              <c:idx val="5"/>
              <c:tx>
                <c:rich>
                  <a:bodyPr/>
                  <a:lstStyle/>
                  <a:p>
                    <a:fld id="{371137FF-AA27-43EB-BF3D-97F003D6BF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522-4FFF-9E56-9731F6C7602B}"/>
                </c:ext>
              </c:extLst>
            </c:dLbl>
            <c:dLbl>
              <c:idx val="6"/>
              <c:tx>
                <c:rich>
                  <a:bodyPr/>
                  <a:lstStyle/>
                  <a:p>
                    <a:fld id="{271AB175-7A41-45A3-AC1C-334DEA6A9C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522-4FFF-9E56-9731F6C7602B}"/>
                </c:ext>
              </c:extLst>
            </c:dLbl>
            <c:dLbl>
              <c:idx val="7"/>
              <c:tx>
                <c:rich>
                  <a:bodyPr/>
                  <a:lstStyle/>
                  <a:p>
                    <a:fld id="{AFAC9B23-9283-43AD-BF23-AD69B795DD2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522-4FFF-9E56-9731F6C7602B}"/>
                </c:ext>
              </c:extLst>
            </c:dLbl>
            <c:dLbl>
              <c:idx val="8"/>
              <c:tx>
                <c:rich>
                  <a:bodyPr/>
                  <a:lstStyle/>
                  <a:p>
                    <a:fld id="{4EE46EDD-8EFB-44FF-B27F-66A92F287C1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1522-4FFF-9E56-9731F6C7602B}"/>
                </c:ext>
              </c:extLst>
            </c:dLbl>
            <c:dLbl>
              <c:idx val="9"/>
              <c:tx>
                <c:rich>
                  <a:bodyPr/>
                  <a:lstStyle/>
                  <a:p>
                    <a:fld id="{FA3AB126-4E37-43FF-B09C-AE1822C5DE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1522-4FFF-9E56-9731F6C7602B}"/>
                </c:ext>
              </c:extLst>
            </c:dLbl>
            <c:dLbl>
              <c:idx val="13"/>
              <c:tx>
                <c:rich>
                  <a:bodyPr/>
                  <a:lstStyle/>
                  <a:p>
                    <a:fld id="{3094D9C3-7990-44FF-B35B-3FABC05BB3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522-4FFF-9E56-9731F6C7602B}"/>
                </c:ext>
              </c:extLst>
            </c:dLbl>
            <c:dLbl>
              <c:idx val="14"/>
              <c:tx>
                <c:rich>
                  <a:bodyPr/>
                  <a:lstStyle/>
                  <a:p>
                    <a:fld id="{C4B7046E-B7B4-4678-8C75-271467D109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522-4FFF-9E56-9731F6C7602B}"/>
                </c:ext>
              </c:extLst>
            </c:dLbl>
            <c:dLbl>
              <c:idx val="15"/>
              <c:tx>
                <c:rich>
                  <a:bodyPr/>
                  <a:lstStyle/>
                  <a:p>
                    <a:fld id="{35E554FA-79AB-425A-A52E-20A1798CE18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1522-4FFF-9E56-9731F6C7602B}"/>
                </c:ext>
              </c:extLst>
            </c:dLbl>
            <c:dLbl>
              <c:idx val="19"/>
              <c:tx>
                <c:rich>
                  <a:bodyPr/>
                  <a:lstStyle/>
                  <a:p>
                    <a:fld id="{DBEA18C1-F93F-41B7-9CE7-F3BA570B136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522-4FFF-9E56-9731F6C7602B}"/>
                </c:ext>
              </c:extLst>
            </c:dLbl>
            <c:dLbl>
              <c:idx val="20"/>
              <c:tx>
                <c:rich>
                  <a:bodyPr/>
                  <a:lstStyle/>
                  <a:p>
                    <a:fld id="{487E55A4-45A1-4506-89BD-7A67487855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1522-4FFF-9E56-9731F6C7602B}"/>
                </c:ext>
              </c:extLst>
            </c:dLbl>
            <c:dLbl>
              <c:idx val="21"/>
              <c:tx>
                <c:rich>
                  <a:bodyPr/>
                  <a:lstStyle/>
                  <a:p>
                    <a:fld id="{D5778F7E-93E6-4807-965E-9ECA126740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1522-4FFF-9E56-9731F6C7602B}"/>
                </c:ext>
              </c:extLst>
            </c:dLbl>
            <c:dLbl>
              <c:idx val="25"/>
              <c:tx>
                <c:rich>
                  <a:bodyPr/>
                  <a:lstStyle/>
                  <a:p>
                    <a:fld id="{779CE4ED-3A69-4943-910F-EBBADA11C64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522-4FFF-9E56-9731F6C7602B}"/>
                </c:ext>
              </c:extLst>
            </c:dLbl>
            <c:dLbl>
              <c:idx val="26"/>
              <c:tx>
                <c:rich>
                  <a:bodyPr/>
                  <a:lstStyle/>
                  <a:p>
                    <a:fld id="{3A64F47E-95CD-4F6C-A9E1-BDD6EEEB61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1522-4FFF-9E56-9731F6C7602B}"/>
                </c:ext>
              </c:extLst>
            </c:dLbl>
            <c:dLbl>
              <c:idx val="27"/>
              <c:tx>
                <c:rich>
                  <a:bodyPr/>
                  <a:lstStyle/>
                  <a:p>
                    <a:fld id="{F0E43132-BB6A-4362-BC2B-A0E6DE4F52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522-4FFF-9E56-9731F6C7602B}"/>
                </c:ext>
              </c:extLst>
            </c:dLbl>
            <c:dLbl>
              <c:idx val="28"/>
              <c:tx>
                <c:rich>
                  <a:bodyPr/>
                  <a:lstStyle/>
                  <a:p>
                    <a:fld id="{A7F3D4ED-D367-4501-B89B-ACCF992E526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1522-4FFF-9E56-9731F6C7602B}"/>
                </c:ext>
              </c:extLst>
            </c:dLbl>
            <c:dLbl>
              <c:idx val="31"/>
              <c:tx>
                <c:rich>
                  <a:bodyPr/>
                  <a:lstStyle/>
                  <a:p>
                    <a:fld id="{6D860CFD-5CA6-4084-A8D8-9A7FAE15EF4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522-4FFF-9E56-9731F6C7602B}"/>
                </c:ext>
              </c:extLst>
            </c:dLbl>
            <c:dLbl>
              <c:idx val="32"/>
              <c:tx>
                <c:rich>
                  <a:bodyPr/>
                  <a:lstStyle/>
                  <a:p>
                    <a:fld id="{5CD9CC61-33F2-492A-856A-152CDC494C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1522-4FFF-9E56-9731F6C7602B}"/>
                </c:ext>
              </c:extLst>
            </c:dLbl>
            <c:dLbl>
              <c:idx val="33"/>
              <c:tx>
                <c:rich>
                  <a:bodyPr/>
                  <a:lstStyle/>
                  <a:p>
                    <a:fld id="{17D7BBCB-255E-43EC-925B-5D6E64D96C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1522-4FFF-9E56-9731F6C7602B}"/>
                </c:ext>
              </c:extLst>
            </c:dLbl>
            <c:dLbl>
              <c:idx val="37"/>
              <c:tx>
                <c:rich>
                  <a:bodyPr/>
                  <a:lstStyle/>
                  <a:p>
                    <a:fld id="{54149770-7E72-4553-BD12-61EB6076C8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522-4FFF-9E56-9731F6C7602B}"/>
                </c:ext>
              </c:extLst>
            </c:dLbl>
            <c:dLbl>
              <c:idx val="38"/>
              <c:tx>
                <c:rich>
                  <a:bodyPr/>
                  <a:lstStyle/>
                  <a:p>
                    <a:fld id="{DC8291FD-036C-4F07-AB30-8BE608946D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76897DF5-A48F-463A-A8FE-96ACF547F3F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1522-4FFF-9E56-9731F6C7602B}"/>
                </c:ext>
              </c:extLst>
            </c:dLbl>
            <c:dLbl>
              <c:idx val="43"/>
              <c:tx>
                <c:rich>
                  <a:bodyPr/>
                  <a:lstStyle/>
                  <a:p>
                    <a:fld id="{0F19238E-DFBF-4FAE-9C19-571757B0FF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1522-4FFF-9E56-9731F6C7602B}"/>
                </c:ext>
              </c:extLst>
            </c:dLbl>
            <c:dLbl>
              <c:idx val="44"/>
              <c:tx>
                <c:rich>
                  <a:bodyPr/>
                  <a:lstStyle/>
                  <a:p>
                    <a:fld id="{11253DF4-F9C0-42E6-AAC4-10FB2ACA50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1522-4FFF-9E56-9731F6C7602B}"/>
                </c:ext>
              </c:extLst>
            </c:dLbl>
            <c:dLbl>
              <c:idx val="45"/>
              <c:tx>
                <c:rich>
                  <a:bodyPr/>
                  <a:lstStyle/>
                  <a:p>
                    <a:fld id="{573C8BB0-74D0-4C54-A553-3A35605BA9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1522-4FFF-9E56-9731F6C7602B}"/>
                </c:ext>
              </c:extLst>
            </c:dLbl>
            <c:dLbl>
              <c:idx val="49"/>
              <c:tx>
                <c:rich>
                  <a:bodyPr/>
                  <a:lstStyle/>
                  <a:p>
                    <a:fld id="{4BB299F8-15B7-4505-B496-E640524E8EF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1522-4FFF-9E56-9731F6C7602B}"/>
                </c:ext>
              </c:extLst>
            </c:dLbl>
            <c:dLbl>
              <c:idx val="50"/>
              <c:tx>
                <c:rich>
                  <a:bodyPr/>
                  <a:lstStyle/>
                  <a:p>
                    <a:fld id="{F15BC02E-CC71-41AC-A77D-5D357B07A2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1522-4FFF-9E56-9731F6C7602B}"/>
                </c:ext>
              </c:extLst>
            </c:dLbl>
            <c:dLbl>
              <c:idx val="51"/>
              <c:tx>
                <c:rich>
                  <a:bodyPr/>
                  <a:lstStyle/>
                  <a:p>
                    <a:fld id="{6ED4EFE9-05DB-4124-9C69-2411E9BD72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19/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9/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4.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6.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2035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9/19/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9/19/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19/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19/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31242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065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9369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7551193-7C66-436D-8ABA-4B99F0776D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2</TotalTime>
  <Words>3615</Words>
  <Application>Microsoft Office PowerPoint</Application>
  <PresentationFormat>On-screen Show (16:9)</PresentationFormat>
  <Paragraphs>1211</Paragraphs>
  <Slides>30</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Sophie  ZIMMERMANN</cp:lastModifiedBy>
  <cp:revision>60</cp:revision>
  <dcterms:created xsi:type="dcterms:W3CDTF">2024-07-08T12:46:55Z</dcterms:created>
  <dcterms:modified xsi:type="dcterms:W3CDTF">2025-09-19T06:1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